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7" r:id="rId5"/>
  </p:sldMasterIdLst>
  <p:notesMasterIdLst>
    <p:notesMasterId r:id="rId7"/>
  </p:notesMasterIdLst>
  <p:sldIdLst>
    <p:sldId id="262" r:id="rId6"/>
  </p:sldIdLst>
  <p:sldSz cx="6858000" cy="8229600"/>
  <p:notesSz cx="6858000" cy="9144000"/>
  <p:custDataLst>
    <p:tags r:id="rId8"/>
  </p:custDataLst>
  <p:defaultTextStyle>
    <a:defPPr>
      <a:defRPr lang="en-US"/>
    </a:defPPr>
    <a:lvl1pPr marL="0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1pPr>
    <a:lvl2pPr marL="251448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2pPr>
    <a:lvl3pPr marL="502897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3pPr>
    <a:lvl4pPr marL="754346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4pPr>
    <a:lvl5pPr marL="1005795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5pPr>
    <a:lvl6pPr marL="1257243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6pPr>
    <a:lvl7pPr marL="1508692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7pPr>
    <a:lvl8pPr marL="1760141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8pPr>
    <a:lvl9pPr marL="2011589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  <a:srgbClr val="8E9A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660"/>
  </p:normalViewPr>
  <p:slideViewPr>
    <p:cSldViewPr snapToGrid="0" showGuides="1">
      <p:cViewPr>
        <p:scale>
          <a:sx n="92" d="100"/>
          <a:sy n="92" d="100"/>
        </p:scale>
        <p:origin x="1544" y="-572"/>
      </p:cViewPr>
      <p:guideLst>
        <p:guide orient="horz" pos="2592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07725-9DB3-4680-A157-A790F7B5187B}" type="datetimeFigureOut">
              <a:rPr lang="en-US" smtClean="0"/>
              <a:t>9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1143000"/>
            <a:ext cx="25717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ED40AC-B308-4A4F-B38F-A7EF99C861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526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1pPr>
    <a:lvl2pPr marL="251448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2pPr>
    <a:lvl3pPr marL="502897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3pPr>
    <a:lvl4pPr marL="754346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4pPr>
    <a:lvl5pPr marL="1005795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5pPr>
    <a:lvl6pPr marL="1257243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6pPr>
    <a:lvl7pPr marL="1508692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7pPr>
    <a:lvl8pPr marL="1760141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8pPr>
    <a:lvl9pPr marL="2011589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25" y="1143000"/>
            <a:ext cx="25717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846C84-1691-443E-BD6E-2927E37FD4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346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3155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bottom-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114800"/>
            <a:ext cx="6858000" cy="41148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780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214843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tilte white - 58px-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E301087C-BD2B-7541-9238-92B3F39DCB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780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grpSp>
        <p:nvGrpSpPr>
          <p:cNvPr id="7" name="Grupo 7">
            <a:extLst>
              <a:ext uri="{FF2B5EF4-FFF2-40B4-BE49-F238E27FC236}">
                <a16:creationId xmlns:a16="http://schemas.microsoft.com/office/drawing/2014/main" id="{36DFD17A-A0AE-444F-9F1E-60766AC0789E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8" name="Gráfico 5">
              <a:extLst>
                <a:ext uri="{FF2B5EF4-FFF2-40B4-BE49-F238E27FC236}">
                  <a16:creationId xmlns:a16="http://schemas.microsoft.com/office/drawing/2014/main" id="{E745D7BD-0A6C-034C-910D-918BB5DF0F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9" name="Gráfico 6">
              <a:extLst>
                <a:ext uri="{FF2B5EF4-FFF2-40B4-BE49-F238E27FC236}">
                  <a16:creationId xmlns:a16="http://schemas.microsoft.com/office/drawing/2014/main" id="{21C226EC-97CE-9F4C-A0A2-EF651ECF4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359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tilte white - 40px-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5779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grpSp>
        <p:nvGrpSpPr>
          <p:cNvPr id="6" name="Grupo 7">
            <a:extLst>
              <a:ext uri="{FF2B5EF4-FFF2-40B4-BE49-F238E27FC236}">
                <a16:creationId xmlns:a16="http://schemas.microsoft.com/office/drawing/2014/main" id="{ADE98A0F-9A33-624A-ADBA-61857973D63E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853DBC6D-D12C-634F-981A-7E0758C77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8" name="Gráfico 6">
              <a:extLst>
                <a:ext uri="{FF2B5EF4-FFF2-40B4-BE49-F238E27FC236}">
                  <a16:creationId xmlns:a16="http://schemas.microsoft.com/office/drawing/2014/main" id="{54200516-4563-ED46-8273-FCDD90443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2006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ex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21"/>
            <a:ext cx="2961978" cy="91544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dex</a:t>
            </a:r>
          </a:p>
        </p:txBody>
      </p:sp>
      <p:grpSp>
        <p:nvGrpSpPr>
          <p:cNvPr id="6" name="Grupo 7">
            <a:extLst>
              <a:ext uri="{FF2B5EF4-FFF2-40B4-BE49-F238E27FC236}">
                <a16:creationId xmlns:a16="http://schemas.microsoft.com/office/drawing/2014/main" id="{434C2431-3641-0840-B5D2-B3CA4A343AD7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B2640F55-A5DB-4243-9C5F-15E9695B1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8" name="Gráfico 6">
              <a:extLst>
                <a:ext uri="{FF2B5EF4-FFF2-40B4-BE49-F238E27FC236}">
                  <a16:creationId xmlns:a16="http://schemas.microsoft.com/office/drawing/2014/main" id="{4956B75F-4A08-5044-99E7-9C25543DC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2285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ex 1 - white ba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21"/>
            <a:ext cx="2961978" cy="91544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6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Index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36171CF8-4729-8649-84CE-47B66E7B17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827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3 numbering-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id="{CDE873E3-468F-41C9-A3D5-AE1CFF571F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451491-55DA-494C-AE67-A7AA6F9EE7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9848" y="290811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D08C52-C62A-483D-AEB9-8ECE7A3325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861" y="3744415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5D0857F-ADC8-4CFD-8864-141069A38F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847" y="4053020"/>
            <a:ext cx="1747540" cy="1852702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821A2FA3-9D43-4A92-BB53-C7698B6C0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4955" y="290811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516BF46-331E-4EE6-9EA1-9358501A23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4969" y="3744415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A01B0FD0-AFAC-4AA1-88C2-4345601D73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4954" y="4053020"/>
            <a:ext cx="1747540" cy="1852702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33748874-45FF-4B3C-AB09-363ED1440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20062" y="290811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0D897AB2-43AD-4AB6-A6A7-B46BC19FD3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0076" y="3744415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36A414C0-5AF1-4821-AB84-E5622E6E40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20061" y="4053020"/>
            <a:ext cx="1747540" cy="1852702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pic>
        <p:nvPicPr>
          <p:cNvPr id="15" name="Picture 7">
            <a:extLst>
              <a:ext uri="{FF2B5EF4-FFF2-40B4-BE49-F238E27FC236}">
                <a16:creationId xmlns:a16="http://schemas.microsoft.com/office/drawing/2014/main" id="{4D9B7954-4CEE-C743-856A-700FDE17D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07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10 numbering-white pur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451491-55DA-494C-AE67-A7AA6F9EE7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98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D08C52-C62A-483D-AEB9-8ECE7A3325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861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5D0857F-ADC8-4CFD-8864-141069A38F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861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A47D272-5350-465D-812F-44D6935CF0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4296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74D1E6A-C29F-40C3-A21F-64983EE009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429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B5F5ED8-32CC-43AE-95F2-320422A4B6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429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5A3565A-C592-4597-8606-88B881951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85884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E8ABFFFD-3581-4836-8C68-837FF6D9DD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5899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1ECF6A5-EB6E-4BB8-871F-744ED5F47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85899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D14F4ACA-C450-4930-99A8-2FB7AB8A3E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80332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52EFDD8-F731-4DE7-9CB9-F51D16D142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34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C8EA6EF-76A1-4606-8285-B29DC63705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34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4029AB7C-C9FD-4FF0-8840-1E9FEB1632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17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2B7D9975-B0DF-400E-9270-5AE6A16D39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11762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044989C-0A51-44C3-8048-FBC92AD929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11762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BEE3F2E-37F1-4BCA-9F54-FFD13786F0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98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1DEBFA4-5978-4578-8F0C-7C39ED73E2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9861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281B3E2-E048-4F9F-96F2-EB4AC60190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09861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E89F656C-88AB-46B0-92BA-1E0F98BA0B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04296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BEC4AD53-A8EE-4A8B-A8A9-AF7C00B8DF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0429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5A282DFE-7C74-46C9-8D2C-83D7184D62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0429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E02076EF-85B9-4278-AB82-23384D605D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85884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E4437FC0-3723-4401-BC4E-7D0A28F732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85899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883DC26-E441-464E-B954-44D6FF0981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85899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968A70C8-EE78-46BE-9F38-09E41463BB9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80332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CFA9B7E-C954-4371-A0B4-6839A16D66D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8034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D71BA04-AABC-45E5-9656-45E0BB19D42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8034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A0135A2-338E-4337-8F7D-C89BCB3010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4117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B47283B0-869D-4FF5-8A79-618919C330B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11762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7254A4F-5904-4BFE-B81D-AE8C682CE01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11762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grpSp>
        <p:nvGrpSpPr>
          <p:cNvPr id="45" name="Grupo 7">
            <a:extLst>
              <a:ext uri="{FF2B5EF4-FFF2-40B4-BE49-F238E27FC236}">
                <a16:creationId xmlns:a16="http://schemas.microsoft.com/office/drawing/2014/main" id="{AC006053-615D-504A-9BCA-DDCC6247CB94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46" name="Gráfico 5">
              <a:extLst>
                <a:ext uri="{FF2B5EF4-FFF2-40B4-BE49-F238E27FC236}">
                  <a16:creationId xmlns:a16="http://schemas.microsoft.com/office/drawing/2014/main" id="{138B013F-F9D8-0849-9963-A153ADE23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47" name="Gráfico 6">
              <a:extLst>
                <a:ext uri="{FF2B5EF4-FFF2-40B4-BE49-F238E27FC236}">
                  <a16:creationId xmlns:a16="http://schemas.microsoft.com/office/drawing/2014/main" id="{BB2427D6-1A5A-2B4D-B228-73AB796AA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8400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28p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651B967-5412-4F9E-949F-4173106E6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8"/>
            <a:ext cx="2965677" cy="652006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4045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057"/>
              </a:lnSpc>
            </a:pPr>
            <a:r>
              <a:rPr lang="en-US" dirty="0"/>
              <a:t>Title</a:t>
            </a:r>
            <a:endParaRPr lang="en-GB" dirty="0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6" name="Gráfico 3">
            <a:extLst>
              <a:ext uri="{FF2B5EF4-FFF2-40B4-BE49-F238E27FC236}">
                <a16:creationId xmlns:a16="http://schemas.microsoft.com/office/drawing/2014/main" id="{806F71A6-82A0-9A49-BFAF-9E3D509EAC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053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651B967-5412-4F9E-949F-4173106E6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5" name="Gráfico 3">
            <a:extLst>
              <a:ext uri="{FF2B5EF4-FFF2-40B4-BE49-F238E27FC236}">
                <a16:creationId xmlns:a16="http://schemas.microsoft.com/office/drawing/2014/main" id="{91D6BADF-E1C5-1741-AEC8-94B8DA36AB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21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86050" y="0"/>
            <a:ext cx="4171950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212410"/>
            <a:ext cx="1520725" cy="506731"/>
          </a:xfrm>
        </p:spPr>
        <p:txBody>
          <a:bodyPr anchor="ctr"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en-GB" noProof="0"/>
              <a:t>Title</a:t>
            </a:r>
          </a:p>
        </p:txBody>
      </p:sp>
      <p:pic>
        <p:nvPicPr>
          <p:cNvPr id="7" name="Gráfico 3">
            <a:extLst>
              <a:ext uri="{FF2B5EF4-FFF2-40B4-BE49-F238E27FC236}">
                <a16:creationId xmlns:a16="http://schemas.microsoft.com/office/drawing/2014/main" id="{FB81B68E-BC6D-674E-847C-537754C689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29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CD643A6-6A08-4A6D-9B77-3A03597609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602" y="2700064"/>
            <a:ext cx="617042" cy="502920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88">
                <a:solidFill>
                  <a:srgbClr val="FFFFFF"/>
                </a:solidFill>
              </a:defRPr>
            </a:lvl1pPr>
            <a:lvl2pPr marL="660505" indent="0">
              <a:buNone/>
              <a:defRPr sz="1517">
                <a:solidFill>
                  <a:schemeClr val="bg1"/>
                </a:solidFill>
              </a:defRPr>
            </a:lvl2pPr>
            <a:lvl3pPr marL="1321012" indent="0">
              <a:buNone/>
              <a:defRPr sz="1445">
                <a:solidFill>
                  <a:schemeClr val="bg1"/>
                </a:solidFill>
              </a:defRPr>
            </a:lvl3pPr>
            <a:lvl4pPr marL="1981518" indent="0">
              <a:buNone/>
              <a:defRPr sz="1300">
                <a:solidFill>
                  <a:schemeClr val="bg1"/>
                </a:solidFill>
              </a:defRPr>
            </a:lvl4pPr>
            <a:lvl5pPr marL="2642024" indent="0"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Text</a:t>
            </a:r>
          </a:p>
          <a:p>
            <a:pPr lvl="0"/>
            <a:r>
              <a:rPr lang="en-GB" noProof="0" dirty="0"/>
              <a:t>Dat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69586FF-3A22-4A74-AB17-8BD70756F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603" y="380237"/>
            <a:ext cx="2317772" cy="2251241"/>
          </a:xfr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10113"/>
              </a:lnSpc>
              <a:defRPr lang="es-ES" sz="7800" dirty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/>
            <a:r>
              <a:rPr lang="en-GB" noProof="0" dirty="0"/>
              <a:t>Text</a:t>
            </a:r>
          </a:p>
        </p:txBody>
      </p:sp>
      <p:grpSp>
        <p:nvGrpSpPr>
          <p:cNvPr id="17" name="Grupo 7">
            <a:extLst>
              <a:ext uri="{FF2B5EF4-FFF2-40B4-BE49-F238E27FC236}">
                <a16:creationId xmlns:a16="http://schemas.microsoft.com/office/drawing/2014/main" id="{7A59AFC3-B3C0-41AA-9EB2-002482A4F336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18" name="Gráfico 5">
              <a:extLst>
                <a:ext uri="{FF2B5EF4-FFF2-40B4-BE49-F238E27FC236}">
                  <a16:creationId xmlns:a16="http://schemas.microsoft.com/office/drawing/2014/main" id="{F3082245-854B-491D-AEB3-2EAA6CE123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19" name="Gráfico 6">
              <a:extLst>
                <a:ext uri="{FF2B5EF4-FFF2-40B4-BE49-F238E27FC236}">
                  <a16:creationId xmlns:a16="http://schemas.microsoft.com/office/drawing/2014/main" id="{AB584155-8C21-4D9F-9D00-3D372D6B0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775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542905"/>
            <a:ext cx="6858000" cy="4772296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212410"/>
            <a:ext cx="1520725" cy="506731"/>
          </a:xfrm>
        </p:spPr>
        <p:txBody>
          <a:bodyPr anchor="ctr"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7" name="Imagen 18">
            <a:extLst>
              <a:ext uri="{FF2B5EF4-FFF2-40B4-BE49-F238E27FC236}">
                <a16:creationId xmlns:a16="http://schemas.microsoft.com/office/drawing/2014/main" id="{B6C47EA2-1D4F-4D9E-8577-0F31F00CBC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DADE4482-22CA-DB4D-9D24-EB8E61919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077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picture b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212410"/>
            <a:ext cx="1520725" cy="506731"/>
          </a:xfrm>
        </p:spPr>
        <p:txBody>
          <a:bodyPr anchor="ctr">
            <a:normAutofit/>
          </a:bodyPr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7" name="Imagen 18">
            <a:extLst>
              <a:ext uri="{FF2B5EF4-FFF2-40B4-BE49-F238E27FC236}">
                <a16:creationId xmlns:a16="http://schemas.microsoft.com/office/drawing/2014/main" id="{B6C47EA2-1D4F-4D9E-8577-0F31F00CBC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024CD3C3-5B7A-5A4B-935F-B4A39D013B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924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 + photo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9090" y="0"/>
            <a:ext cx="2828925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1287" y="533399"/>
            <a:ext cx="2481304" cy="2057400"/>
          </a:xfrm>
        </p:spPr>
        <p:txBody>
          <a:bodyPr anchor="t">
            <a:normAutofit/>
          </a:bodyPr>
          <a:lstStyle>
            <a:lvl1pPr marL="0" indent="0">
              <a:buNone/>
              <a:defRPr sz="7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19D4150-7ED4-44E1-9278-A64CF1A07A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287" y="2541272"/>
            <a:ext cx="1368920" cy="810630"/>
          </a:xfrm>
        </p:spPr>
        <p:txBody>
          <a:bodyPr anchor="t">
            <a:normAutofit/>
          </a:bodyPr>
          <a:lstStyle>
            <a:lvl1pPr marL="0" indent="0">
              <a:lnSpc>
                <a:spcPts val="2600"/>
              </a:lnSpc>
              <a:buNone/>
              <a:defRPr sz="2889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F24180B9-A209-426D-85FB-7FBFFC9166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1287" y="3477771"/>
            <a:ext cx="1368920" cy="1479943"/>
          </a:xfrm>
        </p:spPr>
        <p:txBody>
          <a:bodyPr anchor="t">
            <a:normAutofit/>
          </a:bodyPr>
          <a:lstStyle>
            <a:lvl1pPr marL="0" indent="0">
              <a:buNone/>
              <a:defRPr sz="1734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Lorem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5D09A63-14BB-44E9-B249-B4E353124A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5018" y="5918846"/>
            <a:ext cx="1368920" cy="1921703"/>
          </a:xfrm>
        </p:spPr>
        <p:txBody>
          <a:bodyPr anchor="b">
            <a:normAutofit/>
          </a:bodyPr>
          <a:lstStyle>
            <a:lvl1pPr marL="0" indent="0" algn="r">
              <a:buNone/>
              <a:defRPr sz="4623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Lorem</a:t>
            </a:r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A6DF05C-7333-7241-88FF-3928607E4C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041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236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 + photo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" y="0"/>
            <a:ext cx="2828925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69260" y="533399"/>
            <a:ext cx="2481304" cy="2057400"/>
          </a:xfrm>
        </p:spPr>
        <p:txBody>
          <a:bodyPr anchor="t">
            <a:normAutofit/>
          </a:bodyPr>
          <a:lstStyle>
            <a:lvl1pPr marL="0" indent="0" algn="r">
              <a:buNone/>
              <a:defRPr sz="780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19D4150-7ED4-44E1-9278-A64CF1A07A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1643" y="2511140"/>
            <a:ext cx="1368920" cy="1287779"/>
          </a:xfrm>
        </p:spPr>
        <p:txBody>
          <a:bodyPr vert="horz" lIns="0" tIns="0" rIns="0" bIns="0" rtlCol="0" anchor="t">
            <a:normAutofit/>
          </a:bodyPr>
          <a:lstStyle>
            <a:lvl1pPr marL="0" indent="0" algn="r">
              <a:spcBef>
                <a:spcPts val="0"/>
              </a:spcBef>
              <a:buNone/>
              <a:defRPr lang="en-GB" sz="2889" noProof="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marL="330253" lvl="0" indent="-330253">
              <a:lnSpc>
                <a:spcPts val="2889"/>
              </a:lnSpc>
            </a:pPr>
            <a:r>
              <a:rPr lang="en-GB" noProof="0" dirty="0"/>
              <a:t>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47A2C88-237D-4635-8053-82C5565C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1643" y="3477771"/>
            <a:ext cx="1368920" cy="1479943"/>
          </a:xfrm>
        </p:spPr>
        <p:txBody>
          <a:bodyPr anchor="t">
            <a:normAutofit/>
          </a:bodyPr>
          <a:lstStyle>
            <a:lvl1pPr marL="0" indent="0" algn="r">
              <a:buNone/>
              <a:defRPr sz="1734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Lorem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534B809-1632-46C4-8015-AE109AA5F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12027" y="5126040"/>
            <a:ext cx="2481304" cy="2057400"/>
          </a:xfrm>
        </p:spPr>
        <p:txBody>
          <a:bodyPr anchor="b">
            <a:normAutofit/>
          </a:bodyPr>
          <a:lstStyle>
            <a:lvl1pPr marL="0" indent="0">
              <a:lnSpc>
                <a:spcPts val="4623"/>
              </a:lnSpc>
              <a:spcBef>
                <a:spcPts val="0"/>
              </a:spcBef>
              <a:buNone/>
              <a:defRPr sz="4623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03930B8-96CA-4F99-AF81-00BBECAD72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12027" y="7266576"/>
            <a:ext cx="1368920" cy="681089"/>
          </a:xfrm>
        </p:spPr>
        <p:txBody>
          <a:bodyPr anchor="t">
            <a:normAutofit/>
          </a:bodyPr>
          <a:lstStyle>
            <a:lvl1pPr marL="0" indent="0">
              <a:lnSpc>
                <a:spcPts val="2889"/>
              </a:lnSpc>
              <a:buNone/>
              <a:defRPr sz="2889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64D74505-BD08-5E49-A967-0AA67E1B0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53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8417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364809"/>
            <a:ext cx="2880538" cy="506731"/>
          </a:xfrm>
        </p:spPr>
        <p:txBody>
          <a:bodyPr anchor="ctr">
            <a:noAutofit/>
          </a:bodyPr>
          <a:lstStyle>
            <a:lvl1pPr marL="0" indent="0">
              <a:buNone/>
              <a:defRPr sz="7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7" name="Imagen 18">
            <a:extLst>
              <a:ext uri="{FF2B5EF4-FFF2-40B4-BE49-F238E27FC236}">
                <a16:creationId xmlns:a16="http://schemas.microsoft.com/office/drawing/2014/main" id="{B6C47EA2-1D4F-4D9E-8577-0F31F00CBC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9FCB22C4-994A-415D-9E24-05134561595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6991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32288C5-4ECA-4C24-B3CD-F2F7A3663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05549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8F3BE437-F41A-4ACC-9602-79DCEB95583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64108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BB197D0-4883-48D8-8B67-41F5FC9C1D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417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C4521B7-B4BE-4C69-903F-A9F6013288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6976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FEBC72E-D820-4566-BC9D-6D054BB5A4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05535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22EFAA0-B9F2-4CE7-8112-F7593E2852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64094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pic>
        <p:nvPicPr>
          <p:cNvPr id="19" name="Picture 7">
            <a:extLst>
              <a:ext uri="{FF2B5EF4-FFF2-40B4-BE49-F238E27FC236}">
                <a16:creationId xmlns:a16="http://schemas.microsoft.com/office/drawing/2014/main" id="{8D00FF50-806B-CB4C-B54A-864C00F903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46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 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8417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364809"/>
            <a:ext cx="2880538" cy="506731"/>
          </a:xfrm>
        </p:spPr>
        <p:txBody>
          <a:bodyPr anchor="ctr">
            <a:noAutofit/>
          </a:bodyPr>
          <a:lstStyle>
            <a:lvl1pPr marL="0" indent="0">
              <a:buNone/>
              <a:defRPr sz="7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9FCB22C4-994A-415D-9E24-05134561595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6991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32288C5-4ECA-4C24-B3CD-F2F7A3663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05549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8F3BE437-F41A-4ACC-9602-79DCEB95583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64108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BB197D0-4883-48D8-8B67-41F5FC9C1D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417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C4521B7-B4BE-4C69-903F-A9F6013288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6976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FEBC72E-D820-4566-BC9D-6D054BB5A4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05535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22EFAA0-B9F2-4CE7-8112-F7593E2852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64094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grpSp>
        <p:nvGrpSpPr>
          <p:cNvPr id="13" name="Grupo 7">
            <a:extLst>
              <a:ext uri="{FF2B5EF4-FFF2-40B4-BE49-F238E27FC236}">
                <a16:creationId xmlns:a16="http://schemas.microsoft.com/office/drawing/2014/main" id="{7CD5C114-8827-6B41-82E8-F7CF8422C01A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20" name="Gráfico 5">
              <a:extLst>
                <a:ext uri="{FF2B5EF4-FFF2-40B4-BE49-F238E27FC236}">
                  <a16:creationId xmlns:a16="http://schemas.microsoft.com/office/drawing/2014/main" id="{03C08168-B644-CB4A-B935-AA7E46695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21" name="Gráfico 6">
              <a:extLst>
                <a:ext uri="{FF2B5EF4-FFF2-40B4-BE49-F238E27FC236}">
                  <a16:creationId xmlns:a16="http://schemas.microsoft.com/office/drawing/2014/main" id="{E76DDF02-37D8-0D4E-BBBA-CC044EF95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9377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FF35A0E0-62D3-4FBD-8D67-26160B8478F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858001" cy="822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3538ECC-FBC7-E648-9124-B790651C4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pic>
        <p:nvPicPr>
          <p:cNvPr id="6" name="Picture 7">
            <a:extLst>
              <a:ext uri="{FF2B5EF4-FFF2-40B4-BE49-F238E27FC236}">
                <a16:creationId xmlns:a16="http://schemas.microsoft.com/office/drawing/2014/main" id="{230A70BD-0FFE-7F49-BE87-01C0A69CC8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747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18" y="1920"/>
          <a:ext cx="1099" cy="19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8" y="1920"/>
                        <a:ext cx="1099" cy="19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5" y="4"/>
            <a:ext cx="89297" cy="190499"/>
          </a:xfrm>
          <a:prstGeom prst="rect">
            <a:avLst/>
          </a:prstGeom>
          <a:solidFill>
            <a:srgbClr val="E7CDE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0"/>
            <a:endParaRPr lang="en-US" sz="2534" b="1" i="1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95818" y="7709536"/>
            <a:ext cx="6274340" cy="0"/>
          </a:xfrm>
          <a:prstGeom prst="line">
            <a:avLst/>
          </a:prstGeom>
          <a:ln w="19050">
            <a:gradFill>
              <a:gsLst>
                <a:gs pos="12000">
                  <a:srgbClr val="EE9012"/>
                </a:gs>
                <a:gs pos="45000">
                  <a:srgbClr val="DD219E"/>
                </a:gs>
                <a:gs pos="81000">
                  <a:srgbClr val="5A2781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233004" y="7726688"/>
            <a:ext cx="3583994" cy="314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5DD65100-9276-47B9-9EF4-B89AC31FDCA7}" type="slidenum">
              <a:rPr lang="en-US" altLang="en-US" sz="1445">
                <a:solidFill>
                  <a:srgbClr val="1D1D1B"/>
                </a:solidFill>
              </a:rPr>
              <a:pPr eaLnBrk="1" hangingPunct="1"/>
              <a:t>‹#›</a:t>
            </a:fld>
            <a:r>
              <a:rPr lang="en-US" altLang="en-US" sz="1445" dirty="0">
                <a:solidFill>
                  <a:srgbClr val="1D1D1B"/>
                </a:solidFill>
              </a:rPr>
              <a:t>| Dubai Strategy Retreat| </a:t>
            </a:r>
            <a:fld id="{E71A321B-BA22-4075-B580-5027229FF598}" type="datetime3">
              <a:rPr lang="en-US" altLang="en-US" sz="1445">
                <a:solidFill>
                  <a:srgbClr val="1D1D1B"/>
                </a:solidFill>
              </a:rPr>
              <a:pPr eaLnBrk="1" hangingPunct="1"/>
              <a:t>17 September 2025</a:t>
            </a:fld>
            <a:endParaRPr lang="en-US" altLang="en-US" sz="1445" dirty="0"/>
          </a:p>
        </p:txBody>
      </p:sp>
      <p:sp>
        <p:nvSpPr>
          <p:cNvPr id="8" name="TextBox 11"/>
          <p:cNvSpPr txBox="1">
            <a:spLocks noChangeArrowheads="1"/>
          </p:cNvSpPr>
          <p:nvPr userDrawn="1"/>
        </p:nvSpPr>
        <p:spPr bwMode="auto">
          <a:xfrm>
            <a:off x="6030441" y="7738120"/>
            <a:ext cx="1154227" cy="314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445" dirty="0">
                <a:ea typeface="STC"/>
                <a:cs typeface="STC"/>
              </a:rPr>
              <a:t>© STCS 2018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858000" cy="82296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lIns="114618" tIns="57307" rIns="114618" bIns="57307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1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1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365984" y="7539616"/>
            <a:ext cx="3011365" cy="164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67" noProof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2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65998" y="7416174"/>
            <a:ext cx="5505083" cy="1642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67" noProof="1">
              <a:solidFill>
                <a:prstClr val="black"/>
              </a:solidFill>
              <a:latin typeface="+mn-lt"/>
            </a:endParaRPr>
          </a:p>
        </p:txBody>
      </p:sp>
      <p:sp>
        <p:nvSpPr>
          <p:cNvPr id="14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41945"/>
            <a:ext cx="1091346" cy="854654"/>
          </a:xfrm>
          <a:prstGeom prst="rect">
            <a:avLst/>
          </a:prstGeom>
          <a:noFill/>
        </p:spPr>
        <p:txBody>
          <a:bodyPr lIns="114618" tIns="57307" rIns="114618" bIns="57307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1" noProof="1">
                <a:solidFill>
                  <a:prstClr val="black"/>
                </a:solidFill>
                <a:latin typeface="+mn-lt"/>
              </a:rPr>
              <a:t>Slide Tags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/>
          </p:nvPr>
        </p:nvSpPr>
        <p:spPr>
          <a:xfrm>
            <a:off x="361607" y="1608408"/>
            <a:ext cx="6134793" cy="323935"/>
          </a:xfrm>
        </p:spPr>
        <p:txBody>
          <a:bodyPr/>
          <a:lstStyle>
            <a:lvl1pPr algn="l">
              <a:defRPr sz="2534" b="1" i="1" cap="none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/>
          </p:nvPr>
        </p:nvSpPr>
        <p:spPr>
          <a:xfrm>
            <a:off x="361607" y="1210241"/>
            <a:ext cx="6134793" cy="325881"/>
          </a:xfrm>
        </p:spPr>
        <p:txBody>
          <a:bodyPr wrap="none"/>
          <a:lstStyle>
            <a:lvl1pPr marL="0" indent="0">
              <a:spcAft>
                <a:spcPts val="0"/>
              </a:spcAft>
              <a:buNone/>
              <a:defRPr sz="2802" b="0" i="0">
                <a:solidFill>
                  <a:schemeClr val="bg1"/>
                </a:solidFill>
                <a:latin typeface="+mj-lt"/>
              </a:defRPr>
            </a:lvl1pPr>
            <a:lvl2pPr marL="638665" indent="0">
              <a:buNone/>
              <a:defRPr sz="2534">
                <a:solidFill>
                  <a:schemeClr val="tx1">
                    <a:tint val="75000"/>
                  </a:schemeClr>
                </a:solidFill>
              </a:defRPr>
            </a:lvl2pPr>
            <a:lvl3pPr marL="1277329" indent="0">
              <a:buNone/>
              <a:defRPr sz="2266">
                <a:solidFill>
                  <a:schemeClr val="tx1">
                    <a:tint val="75000"/>
                  </a:schemeClr>
                </a:solidFill>
              </a:defRPr>
            </a:lvl3pPr>
            <a:lvl4pPr marL="19159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546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9332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319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706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0932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40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346836"/>
            <a:ext cx="5829300" cy="286512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322446"/>
            <a:ext cx="5143500" cy="1986914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9984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432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91713D11-A5D1-4E52-9BF7-CFB2A0BD64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0388" y="213361"/>
            <a:ext cx="4420195" cy="4038601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7800" b="0">
                <a:solidFill>
                  <a:schemeClr val="bg1"/>
                </a:solidFill>
              </a:defRPr>
            </a:lvl1pPr>
            <a:lvl2pPr>
              <a:defRPr sz="4623">
                <a:solidFill>
                  <a:schemeClr val="bg1"/>
                </a:solidFill>
              </a:defRPr>
            </a:lvl2pPr>
            <a:lvl3pPr>
              <a:defRPr sz="4623">
                <a:solidFill>
                  <a:schemeClr val="bg1"/>
                </a:solidFill>
              </a:defRPr>
            </a:lvl3pPr>
            <a:lvl4pPr>
              <a:defRPr sz="4623">
                <a:solidFill>
                  <a:schemeClr val="bg1"/>
                </a:solidFill>
              </a:defRPr>
            </a:lvl4pPr>
            <a:lvl5pPr>
              <a:defRPr sz="4623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grpSp>
        <p:nvGrpSpPr>
          <p:cNvPr id="4" name="Grupo 7">
            <a:extLst>
              <a:ext uri="{FF2B5EF4-FFF2-40B4-BE49-F238E27FC236}">
                <a16:creationId xmlns:a16="http://schemas.microsoft.com/office/drawing/2014/main" id="{826C094F-1AD2-1D4C-B37F-1D73B156B9CB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6" name="Gráfico 5">
              <a:extLst>
                <a:ext uri="{FF2B5EF4-FFF2-40B4-BE49-F238E27FC236}">
                  <a16:creationId xmlns:a16="http://schemas.microsoft.com/office/drawing/2014/main" id="{F6985BCB-114B-F44A-A8C1-B166E378A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7" name="Gráfico 6">
              <a:extLst>
                <a:ext uri="{FF2B5EF4-FFF2-40B4-BE49-F238E27FC236}">
                  <a16:creationId xmlns:a16="http://schemas.microsoft.com/office/drawing/2014/main" id="{D9ABEEBC-5E35-564F-825C-40F6E8728D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0923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051688"/>
            <a:ext cx="5915025" cy="3423284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5507358"/>
            <a:ext cx="5915025" cy="1800224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6011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190750"/>
            <a:ext cx="2914650" cy="52216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190750"/>
            <a:ext cx="2914650" cy="52216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6320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38152"/>
            <a:ext cx="5915025" cy="15906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017396"/>
            <a:ext cx="2901255" cy="98869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006090"/>
            <a:ext cx="2901255" cy="44215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017396"/>
            <a:ext cx="2915543" cy="98869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006090"/>
            <a:ext cx="2915543" cy="44215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6226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1805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157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48640"/>
            <a:ext cx="2211884" cy="192024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184912"/>
            <a:ext cx="3471863" cy="584835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468880"/>
            <a:ext cx="2211884" cy="457390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9888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48640"/>
            <a:ext cx="2211884" cy="192024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184912"/>
            <a:ext cx="3471863" cy="5848350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468880"/>
            <a:ext cx="2211884" cy="457390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666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7409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38150"/>
            <a:ext cx="1478756" cy="697420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38150"/>
            <a:ext cx="4350544" cy="697420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4441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719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7"/>
            <a:ext cx="2965677" cy="1590676"/>
          </a:xfrm>
        </p:spPr>
        <p:txBody>
          <a:bodyPr anchor="t">
            <a:noAutofit/>
          </a:bodyPr>
          <a:lstStyle>
            <a:lvl1pPr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n-GB" noProof="0" dirty="0"/>
              <a:t>Document Title</a:t>
            </a:r>
          </a:p>
        </p:txBody>
      </p:sp>
      <p:grpSp>
        <p:nvGrpSpPr>
          <p:cNvPr id="5" name="Grupo 7">
            <a:extLst>
              <a:ext uri="{FF2B5EF4-FFF2-40B4-BE49-F238E27FC236}">
                <a16:creationId xmlns:a16="http://schemas.microsoft.com/office/drawing/2014/main" id="{4356B0BA-0A6A-2B4D-8023-97295E4D74C2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A18B9767-C9B4-B24D-AFCC-0A42E4AD7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8" name="Gráfico 6">
              <a:extLst>
                <a:ext uri="{FF2B5EF4-FFF2-40B4-BE49-F238E27FC236}">
                  <a16:creationId xmlns:a16="http://schemas.microsoft.com/office/drawing/2014/main" id="{DD79FC33-9CB8-5E45-9856-30AA8F095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239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40p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651B967-5412-4F9E-949F-4173106E6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7"/>
            <a:ext cx="2965677" cy="3358787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779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057"/>
              </a:lnSpc>
            </a:pPr>
            <a:r>
              <a:rPr lang="en-GB" noProof="0"/>
              <a:t>Title</a:t>
            </a:r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6" name="Gráfico 3">
            <a:extLst>
              <a:ext uri="{FF2B5EF4-FFF2-40B4-BE49-F238E27FC236}">
                <a16:creationId xmlns:a16="http://schemas.microsoft.com/office/drawing/2014/main" id="{16EE87EF-0232-7941-B868-A2654E1093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077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40px -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7"/>
            <a:ext cx="2965677" cy="335878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lang="en-GB" sz="5779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5057"/>
              </a:lnSpc>
            </a:pPr>
            <a:r>
              <a:rPr lang="en-GB" noProof="0"/>
              <a:t>Title</a:t>
            </a:r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A539435C-12EE-CC47-B963-5450BCF905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817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10 numbering-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451491-55DA-494C-AE67-A7AA6F9EE7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98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D08C52-C62A-483D-AEB9-8ECE7A3325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861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5D0857F-ADC8-4CFD-8864-141069A38F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861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A47D272-5350-465D-812F-44D6935CF0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4296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74D1E6A-C29F-40C3-A21F-64983EE009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429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B5F5ED8-32CC-43AE-95F2-320422A4B6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429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5A3565A-C592-4597-8606-88B881951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85884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E8ABFFFD-3581-4836-8C68-837FF6D9DD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5899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1ECF6A5-EB6E-4BB8-871F-744ED5F47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85899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D14F4ACA-C450-4930-99A8-2FB7AB8A3E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80332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52EFDD8-F731-4DE7-9CB9-F51D16D142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34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C8EA6EF-76A1-4606-8285-B29DC63705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34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4029AB7C-C9FD-4FF0-8840-1E9FEB1632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17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2B7D9975-B0DF-400E-9270-5AE6A16D39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11762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044989C-0A51-44C3-8048-FBC92AD929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11762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BEE3F2E-37F1-4BCA-9F54-FFD13786F0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98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1DEBFA4-5978-4578-8F0C-7C39ED73E2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9861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281B3E2-E048-4F9F-96F2-EB4AC60190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09861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E89F656C-88AB-46B0-92BA-1E0F98BA0B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04296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BEC4AD53-A8EE-4A8B-A8A9-AF7C00B8DF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0429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5A282DFE-7C74-46C9-8D2C-83D7184D62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0429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E02076EF-85B9-4278-AB82-23384D605D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85884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E4437FC0-3723-4401-BC4E-7D0A28F732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85899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883DC26-E441-464E-B954-44D6FF0981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85899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968A70C8-EE78-46BE-9F38-09E41463BB9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80332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CFA9B7E-C954-4371-A0B4-6839A16D66D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8034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D71BA04-AABC-45E5-9656-45E0BB19D42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8034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A0135A2-338E-4337-8F7D-C89BCB3010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4117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B47283B0-869D-4FF5-8A79-618919C330B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11762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7254A4F-5904-4BFE-B81D-AE8C682CE01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11762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pic>
        <p:nvPicPr>
          <p:cNvPr id="44" name="Picture 7">
            <a:extLst>
              <a:ext uri="{FF2B5EF4-FFF2-40B4-BE49-F238E27FC236}">
                <a16:creationId xmlns:a16="http://schemas.microsoft.com/office/drawing/2014/main" id="{401A6E9E-377B-1047-91D1-86433B5B22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532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tilte white - 58p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37441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botto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703320"/>
            <a:ext cx="6858000" cy="452628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7800"/>
              </a:lnSpc>
              <a:defRPr sz="8379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39194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907" y="1908"/>
          <a:ext cx="893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907" y="1908"/>
                        <a:ext cx="893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0"/>
            </p:custDataLst>
          </p:nvPr>
        </p:nvSpPr>
        <p:spPr>
          <a:xfrm>
            <a:off x="15" y="4"/>
            <a:ext cx="89297" cy="190499"/>
          </a:xfrm>
          <a:prstGeom prst="rect">
            <a:avLst/>
          </a:prstGeom>
          <a:solidFill>
            <a:srgbClr val="330958"/>
          </a:solidFill>
          <a:ln>
            <a:solidFill>
              <a:srgbClr val="3309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6358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A4DCC25-7D64-4408-9B41-A6C887E73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91" y="438151"/>
            <a:ext cx="5915025" cy="159067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 noProof="0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F99EF37-E52B-45E6-9ADC-C5585D2EA0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491" y="2190753"/>
            <a:ext cx="5915025" cy="5221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Haga clic para modificar los estilos de texto del patrón</a:t>
            </a:r>
          </a:p>
          <a:p>
            <a:pPr lvl="1"/>
            <a:r>
              <a:rPr lang="en-GB" noProof="0"/>
              <a:t>Segundo nivel</a:t>
            </a:r>
          </a:p>
          <a:p>
            <a:pPr lvl="2"/>
            <a:r>
              <a:rPr lang="en-GB" noProof="0"/>
              <a:t>Tercer nivel</a:t>
            </a:r>
          </a:p>
          <a:p>
            <a:pPr lvl="3"/>
            <a:r>
              <a:rPr lang="en-GB" noProof="0"/>
              <a:t>Cuarto nivel</a:t>
            </a:r>
          </a:p>
          <a:p>
            <a:pPr lvl="4"/>
            <a:r>
              <a:rPr lang="en-GB" noProof="0"/>
              <a:t>Quinto nivel</a:t>
            </a:r>
          </a:p>
        </p:txBody>
      </p:sp>
      <p:sp>
        <p:nvSpPr>
          <p:cNvPr id="4" name="MSIPCMContentMarking" descr="{&quot;HashCode&quot;:-1383461477,&quot;Placement&quot;:&quot;Header&quot;,&quot;Top&quot;:0.0,&quot;Left&quot;:0.0,&quot;SlideWidth&quot;:540,&quot;SlideHeight&quot;:828}"/>
          <p:cNvSpPr txBox="1"/>
          <p:nvPr userDrawn="1"/>
        </p:nvSpPr>
        <p:spPr>
          <a:xfrm>
            <a:off x="0" y="24709"/>
            <a:ext cx="3601652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100">
                <a:solidFill>
                  <a:srgbClr val="5C2D91"/>
                </a:solidFill>
                <a:latin typeface="Calibri" panose="020F0502020204030204" pitchFamily="34" charset="0"/>
              </a:rPr>
              <a:t>This message/document has been classified as “Internal”</a:t>
            </a:r>
          </a:p>
        </p:txBody>
      </p:sp>
    </p:spTree>
    <p:extLst>
      <p:ext uri="{BB962C8B-B14F-4D97-AF65-F5344CB8AC3E}">
        <p14:creationId xmlns:p14="http://schemas.microsoft.com/office/powerpoint/2010/main" val="2024827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txStyles>
    <p:titleStyle>
      <a:lvl1pPr algn="l" defTabSz="1321012" rtl="0" eaLnBrk="1" latinLnBrk="0" hangingPunct="1">
        <a:lnSpc>
          <a:spcPct val="100000"/>
        </a:lnSpc>
        <a:spcBef>
          <a:spcPct val="0"/>
        </a:spcBef>
        <a:buNone/>
        <a:defRPr sz="6358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30253" indent="-330253" algn="l" defTabSz="1321012" rtl="0" eaLnBrk="1" latinLnBrk="0" hangingPunct="1">
        <a:lnSpc>
          <a:spcPct val="100000"/>
        </a:lnSpc>
        <a:spcBef>
          <a:spcPts val="1445"/>
        </a:spcBef>
        <a:buFont typeface="Arial" panose="020B0604020202020204" pitchFamily="34" charset="0"/>
        <a:buChar char="•"/>
        <a:defRPr sz="4045" kern="1200">
          <a:solidFill>
            <a:schemeClr val="tx1"/>
          </a:solidFill>
          <a:latin typeface="+mn-lt"/>
          <a:ea typeface="+mn-ea"/>
          <a:cs typeface="+mn-cs"/>
        </a:defRPr>
      </a:lvl1pPr>
      <a:lvl2pPr marL="990760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651265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2889" kern="1200">
          <a:solidFill>
            <a:schemeClr val="tx1"/>
          </a:solidFill>
          <a:latin typeface="+mn-lt"/>
          <a:ea typeface="+mn-ea"/>
          <a:cs typeface="+mn-cs"/>
        </a:defRPr>
      </a:lvl3pPr>
      <a:lvl4pPr marL="2311770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972277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782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3288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3796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4300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505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1012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518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2024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2530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035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3542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4047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38152"/>
            <a:ext cx="5915025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190750"/>
            <a:ext cx="5915025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7627622"/>
            <a:ext cx="154305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9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7627622"/>
            <a:ext cx="2314575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7627622"/>
            <a:ext cx="154305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1697034"/>
              </p:ext>
            </p:extLst>
          </p:nvPr>
        </p:nvGraphicFramePr>
        <p:xfrm>
          <a:off x="905" y="1906"/>
          <a:ext cx="893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905" y="1906"/>
                        <a:ext cx="893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5"/>
            </p:custDataLst>
          </p:nvPr>
        </p:nvSpPr>
        <p:spPr>
          <a:xfrm>
            <a:off x="13" y="4"/>
            <a:ext cx="89297" cy="190499"/>
          </a:xfrm>
          <a:prstGeom prst="rect">
            <a:avLst/>
          </a:prstGeom>
          <a:solidFill>
            <a:srgbClr val="330958"/>
          </a:solidFill>
          <a:ln>
            <a:solidFill>
              <a:srgbClr val="3309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6358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MSIPCMContentMarking" descr="{&quot;HashCode&quot;:-1383461477,&quot;Placement&quot;:&quot;Header&quot;,&quot;Top&quot;:0.0,&quot;Left&quot;:0.0,&quot;SlideWidth&quot;:540,&quot;SlideHeight&quot;:828}"/>
          <p:cNvSpPr txBox="1"/>
          <p:nvPr userDrawn="1"/>
        </p:nvSpPr>
        <p:spPr>
          <a:xfrm>
            <a:off x="0" y="24709"/>
            <a:ext cx="3601652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100">
                <a:solidFill>
                  <a:srgbClr val="5C2D91"/>
                </a:solidFill>
                <a:latin typeface="Calibri" panose="020F0502020204030204" pitchFamily="34" charset="0"/>
              </a:rPr>
              <a:t>This message/document has been classified as “Internal”</a:t>
            </a:r>
          </a:p>
        </p:txBody>
      </p:sp>
    </p:spTree>
    <p:extLst>
      <p:ext uri="{BB962C8B-B14F-4D97-AF65-F5344CB8AC3E}">
        <p14:creationId xmlns:p14="http://schemas.microsoft.com/office/powerpoint/2010/main" val="1380145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075534"/>
              </p:ext>
            </p:extLst>
          </p:nvPr>
        </p:nvGraphicFramePr>
        <p:xfrm>
          <a:off x="-5501040" y="-835906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5501040" y="-835906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/>
        </p:nvSpPr>
        <p:spPr>
          <a:xfrm>
            <a:off x="1" y="-4826"/>
            <a:ext cx="5394961" cy="442898"/>
          </a:xfrm>
          <a:prstGeom prst="rect">
            <a:avLst/>
          </a:prstGeom>
          <a:solidFill>
            <a:srgbClr val="4F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321012">
              <a:defRPr/>
            </a:pPr>
            <a:r>
              <a:rPr lang="en-GB" sz="1600" b="1" dirty="0">
                <a:solidFill>
                  <a:srgbClr val="FFFFFF"/>
                </a:solidFill>
                <a:latin typeface="Arial"/>
              </a:rPr>
              <a:t>Weekly Meeting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358610" y="0"/>
            <a:ext cx="45719" cy="492204"/>
          </a:xfrm>
          <a:prstGeom prst="rect">
            <a:avLst/>
          </a:prstGeom>
          <a:solidFill>
            <a:srgbClr val="FF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40EE10B-9B26-47A5-A200-6ABEC330A3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768" y="7632255"/>
            <a:ext cx="1250736" cy="64008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-27700" y="1055290"/>
            <a:ext cx="16308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21012"/>
            <a:r>
              <a:rPr lang="en-US" sz="1100" b="1" dirty="0">
                <a:solidFill>
                  <a:srgbClr val="FFFFFF"/>
                </a:solidFill>
                <a:latin typeface="Arial"/>
              </a:rPr>
              <a:t>DRM Management</a:t>
            </a:r>
          </a:p>
          <a:p>
            <a:pPr algn="ctr" defTabSz="1321012"/>
            <a:r>
              <a:rPr lang="en-US" sz="1100" b="1" dirty="0">
                <a:solidFill>
                  <a:srgbClr val="FFFFFF"/>
                </a:solidFill>
                <a:latin typeface="Arial"/>
              </a:rPr>
              <a:t>#20</a:t>
            </a:r>
          </a:p>
        </p:txBody>
      </p:sp>
      <p:sp>
        <p:nvSpPr>
          <p:cNvPr id="71" name="Trapezoid 6"/>
          <p:cNvSpPr/>
          <p:nvPr/>
        </p:nvSpPr>
        <p:spPr>
          <a:xfrm rot="16200000">
            <a:off x="1130599" y="2047795"/>
            <a:ext cx="1374448" cy="350698"/>
          </a:xfrm>
          <a:custGeom>
            <a:avLst/>
            <a:gdLst>
              <a:gd name="connsiteX0" fmla="*/ 0 w 2021205"/>
              <a:gd name="connsiteY0" fmla="*/ 771516 h 771516"/>
              <a:gd name="connsiteX1" fmla="*/ 192879 w 2021205"/>
              <a:gd name="connsiteY1" fmla="*/ 0 h 771516"/>
              <a:gd name="connsiteX2" fmla="*/ 1828326 w 2021205"/>
              <a:gd name="connsiteY2" fmla="*/ 0 h 771516"/>
              <a:gd name="connsiteX3" fmla="*/ 2021205 w 2021205"/>
              <a:gd name="connsiteY3" fmla="*/ 771516 h 771516"/>
              <a:gd name="connsiteX4" fmla="*/ 0 w 2021205"/>
              <a:gd name="connsiteY4" fmla="*/ 771516 h 771516"/>
              <a:gd name="connsiteX0" fmla="*/ 0 w 3282803"/>
              <a:gd name="connsiteY0" fmla="*/ 778395 h 778395"/>
              <a:gd name="connsiteX1" fmla="*/ 1454477 w 3282803"/>
              <a:gd name="connsiteY1" fmla="*/ 0 h 778395"/>
              <a:gd name="connsiteX2" fmla="*/ 3089924 w 3282803"/>
              <a:gd name="connsiteY2" fmla="*/ 0 h 778395"/>
              <a:gd name="connsiteX3" fmla="*/ 3282803 w 3282803"/>
              <a:gd name="connsiteY3" fmla="*/ 771516 h 778395"/>
              <a:gd name="connsiteX4" fmla="*/ 0 w 3282803"/>
              <a:gd name="connsiteY4" fmla="*/ 778395 h 778395"/>
              <a:gd name="connsiteX0" fmla="*/ 0 w 4534087"/>
              <a:gd name="connsiteY0" fmla="*/ 778395 h 778395"/>
              <a:gd name="connsiteX1" fmla="*/ 1454477 w 4534087"/>
              <a:gd name="connsiteY1" fmla="*/ 0 h 778395"/>
              <a:gd name="connsiteX2" fmla="*/ 3089924 w 4534087"/>
              <a:gd name="connsiteY2" fmla="*/ 0 h 778395"/>
              <a:gd name="connsiteX3" fmla="*/ 4534087 w 4534087"/>
              <a:gd name="connsiteY3" fmla="*/ 771516 h 778395"/>
              <a:gd name="connsiteX4" fmla="*/ 0 w 4534087"/>
              <a:gd name="connsiteY4" fmla="*/ 778395 h 778395"/>
              <a:gd name="connsiteX0" fmla="*/ 0 w 3991547"/>
              <a:gd name="connsiteY0" fmla="*/ 698525 h 771516"/>
              <a:gd name="connsiteX1" fmla="*/ 911937 w 3991547"/>
              <a:gd name="connsiteY1" fmla="*/ 0 h 771516"/>
              <a:gd name="connsiteX2" fmla="*/ 2547384 w 3991547"/>
              <a:gd name="connsiteY2" fmla="*/ 0 h 771516"/>
              <a:gd name="connsiteX3" fmla="*/ 3991547 w 3991547"/>
              <a:gd name="connsiteY3" fmla="*/ 771516 h 771516"/>
              <a:gd name="connsiteX4" fmla="*/ 0 w 3991547"/>
              <a:gd name="connsiteY4" fmla="*/ 698525 h 771516"/>
              <a:gd name="connsiteX0" fmla="*/ 0 w 3653340"/>
              <a:gd name="connsiteY0" fmla="*/ 698529 h 771516"/>
              <a:gd name="connsiteX1" fmla="*/ 573730 w 3653340"/>
              <a:gd name="connsiteY1" fmla="*/ 0 h 771516"/>
              <a:gd name="connsiteX2" fmla="*/ 2209177 w 3653340"/>
              <a:gd name="connsiteY2" fmla="*/ 0 h 771516"/>
              <a:gd name="connsiteX3" fmla="*/ 3653340 w 3653340"/>
              <a:gd name="connsiteY3" fmla="*/ 771516 h 771516"/>
              <a:gd name="connsiteX4" fmla="*/ 0 w 3653340"/>
              <a:gd name="connsiteY4" fmla="*/ 698529 h 771516"/>
              <a:gd name="connsiteX0" fmla="*/ 0 w 2540076"/>
              <a:gd name="connsiteY0" fmla="*/ 698529 h 707619"/>
              <a:gd name="connsiteX1" fmla="*/ 573730 w 2540076"/>
              <a:gd name="connsiteY1" fmla="*/ 0 h 707619"/>
              <a:gd name="connsiteX2" fmla="*/ 2209177 w 2540076"/>
              <a:gd name="connsiteY2" fmla="*/ 0 h 707619"/>
              <a:gd name="connsiteX3" fmla="*/ 2540076 w 2540076"/>
              <a:gd name="connsiteY3" fmla="*/ 707619 h 707619"/>
              <a:gd name="connsiteX4" fmla="*/ 0 w 2540076"/>
              <a:gd name="connsiteY4" fmla="*/ 698529 h 707619"/>
              <a:gd name="connsiteX0" fmla="*/ 0 w 2540076"/>
              <a:gd name="connsiteY0" fmla="*/ 714503 h 723593"/>
              <a:gd name="connsiteX1" fmla="*/ 376443 w 2540076"/>
              <a:gd name="connsiteY1" fmla="*/ 0 h 723593"/>
              <a:gd name="connsiteX2" fmla="*/ 2209177 w 2540076"/>
              <a:gd name="connsiteY2" fmla="*/ 15974 h 723593"/>
              <a:gd name="connsiteX3" fmla="*/ 2540076 w 2540076"/>
              <a:gd name="connsiteY3" fmla="*/ 723593 h 723593"/>
              <a:gd name="connsiteX4" fmla="*/ 0 w 2540076"/>
              <a:gd name="connsiteY4" fmla="*/ 714503 h 723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0076" h="723593">
                <a:moveTo>
                  <a:pt x="0" y="714503"/>
                </a:moveTo>
                <a:lnTo>
                  <a:pt x="376443" y="0"/>
                </a:lnTo>
                <a:lnTo>
                  <a:pt x="2209177" y="15974"/>
                </a:lnTo>
                <a:lnTo>
                  <a:pt x="2540076" y="723593"/>
                </a:lnTo>
                <a:lnTo>
                  <a:pt x="0" y="714503"/>
                </a:lnTo>
                <a:close/>
              </a:path>
            </a:pathLst>
          </a:custGeom>
          <a:gradFill>
            <a:gsLst>
              <a:gs pos="100000">
                <a:schemeClr val="accent5">
                  <a:lumMod val="20000"/>
                  <a:lumOff val="80000"/>
                </a:schemeClr>
              </a:gs>
              <a:gs pos="0">
                <a:srgbClr val="F2F2F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025634" y="1483959"/>
            <a:ext cx="4803461" cy="1426410"/>
          </a:xfrm>
          <a:prstGeom prst="rect">
            <a:avLst/>
          </a:prstGeom>
          <a:solidFill>
            <a:schemeClr val="bg1"/>
          </a:solidFill>
          <a:ln>
            <a:solidFill>
              <a:srgbClr val="8E9A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1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7715" y="1483966"/>
            <a:ext cx="1579623" cy="1374447"/>
          </a:xfrm>
          <a:prstGeom prst="rect">
            <a:avLst/>
          </a:prstGeom>
          <a:solidFill>
            <a:schemeClr val="bg1"/>
          </a:solidFill>
          <a:ln w="12700">
            <a:solidFill>
              <a:srgbClr val="8E9A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Flowchart: Terminator 8"/>
          <p:cNvSpPr/>
          <p:nvPr/>
        </p:nvSpPr>
        <p:spPr>
          <a:xfrm rot="5400000">
            <a:off x="-122807" y="1064405"/>
            <a:ext cx="1985840" cy="1231784"/>
          </a:xfrm>
          <a:prstGeom prst="flowChartTerminator">
            <a:avLst/>
          </a:prstGeom>
          <a:solidFill>
            <a:srgbClr val="4F008C"/>
          </a:solidFill>
          <a:ln>
            <a:solidFill>
              <a:srgbClr val="4F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ight Triangle 13"/>
          <p:cNvSpPr/>
          <p:nvPr/>
        </p:nvSpPr>
        <p:spPr>
          <a:xfrm>
            <a:off x="65310" y="1590379"/>
            <a:ext cx="1513587" cy="862670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-1" y="428717"/>
            <a:ext cx="5394961" cy="66037"/>
          </a:xfrm>
          <a:prstGeom prst="rect">
            <a:avLst/>
          </a:prstGeom>
          <a:solidFill>
            <a:srgbClr val="FF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65298" y="1502562"/>
            <a:ext cx="472738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21012"/>
            <a:r>
              <a:rPr lang="en-US" sz="1100" b="1" dirty="0">
                <a:solidFill>
                  <a:srgbClr val="1D252D"/>
                </a:solidFill>
                <a:latin typeface="Arial"/>
              </a:rPr>
              <a:t>Attendees</a:t>
            </a:r>
            <a:r>
              <a:rPr lang="en-US" sz="1100" dirty="0">
                <a:solidFill>
                  <a:srgbClr val="1D252D"/>
                </a:solidFill>
                <a:latin typeface="Arial"/>
              </a:rPr>
              <a:t>: </a:t>
            </a:r>
          </a:p>
          <a:p>
            <a:pPr defTabSz="1321012"/>
            <a:endParaRPr lang="en-US" sz="1100" dirty="0">
              <a:solidFill>
                <a:srgbClr val="1D252D"/>
              </a:solidFill>
              <a:latin typeface="Arial"/>
            </a:endParaRPr>
          </a:p>
          <a:p>
            <a:pPr defTabSz="1321012"/>
            <a:r>
              <a:rPr lang="en-US" sz="1100" dirty="0">
                <a:solidFill>
                  <a:srgbClr val="1D252D"/>
                </a:solidFill>
                <a:latin typeface="Arial"/>
              </a:rPr>
              <a:t>Osamah S. Sarraj - Ahmad A. Alali - Ali H. Alhussain -  Fatimah A. Alamoudi - Haya A. </a:t>
            </a:r>
            <a:r>
              <a:rPr lang="en-US" sz="1100" dirty="0" err="1">
                <a:solidFill>
                  <a:srgbClr val="1D252D"/>
                </a:solidFill>
                <a:latin typeface="Arial"/>
              </a:rPr>
              <a:t>Alkhthran</a:t>
            </a:r>
            <a:r>
              <a:rPr lang="en-US" sz="1100" dirty="0">
                <a:solidFill>
                  <a:srgbClr val="1D252D"/>
                </a:solidFill>
                <a:latin typeface="Arial"/>
              </a:rPr>
              <a:t> - Ibrahim S. </a:t>
            </a:r>
            <a:r>
              <a:rPr lang="en-US" sz="1100" dirty="0" err="1">
                <a:solidFill>
                  <a:srgbClr val="1D252D"/>
                </a:solidFill>
                <a:latin typeface="Arial"/>
              </a:rPr>
              <a:t>AlAtyan</a:t>
            </a:r>
            <a:r>
              <a:rPr lang="en-US" sz="1100" dirty="0">
                <a:solidFill>
                  <a:srgbClr val="1D252D"/>
                </a:solidFill>
                <a:latin typeface="Arial"/>
              </a:rPr>
              <a:t> - Lana A. </a:t>
            </a:r>
            <a:r>
              <a:rPr lang="en-US" sz="1100" dirty="0" err="1">
                <a:solidFill>
                  <a:srgbClr val="1D252D"/>
                </a:solidFill>
                <a:latin typeface="Arial"/>
              </a:rPr>
              <a:t>Alruhaimi</a:t>
            </a:r>
            <a:r>
              <a:rPr lang="en-US" sz="1100" dirty="0">
                <a:solidFill>
                  <a:srgbClr val="1D252D"/>
                </a:solidFill>
                <a:latin typeface="Arial"/>
              </a:rPr>
              <a:t> - Razan Z. </a:t>
            </a:r>
            <a:r>
              <a:rPr lang="en-US" sz="1100" dirty="0" err="1">
                <a:solidFill>
                  <a:srgbClr val="1D252D"/>
                </a:solidFill>
                <a:latin typeface="Arial"/>
              </a:rPr>
              <a:t>AlKhalaqi</a:t>
            </a:r>
            <a:r>
              <a:rPr lang="en-US" sz="1100" dirty="0">
                <a:solidFill>
                  <a:srgbClr val="1D252D"/>
                </a:solidFill>
                <a:latin typeface="Arial"/>
              </a:rPr>
              <a:t> - Waref A. Alyousef.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65313" y="2021718"/>
            <a:ext cx="1397507" cy="779285"/>
            <a:chOff x="37593" y="2026535"/>
            <a:chExt cx="1397507" cy="779285"/>
          </a:xfrm>
        </p:grpSpPr>
        <p:sp>
          <p:nvSpPr>
            <p:cNvPr id="16" name="Right Triangle 15"/>
            <p:cNvSpPr/>
            <p:nvPr/>
          </p:nvSpPr>
          <p:spPr>
            <a:xfrm>
              <a:off x="37593" y="2026535"/>
              <a:ext cx="1243685" cy="72187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21012"/>
              <a:endParaRPr lang="en-US" sz="26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54389" y="2432659"/>
              <a:ext cx="880711" cy="3731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-219016" y="1257128"/>
            <a:ext cx="2159620" cy="576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21012"/>
            <a:r>
              <a:rPr lang="en-US" sz="1049" b="1" dirty="0">
                <a:solidFill>
                  <a:srgbClr val="FF0000"/>
                </a:solidFill>
                <a:latin typeface="Arial"/>
              </a:rPr>
              <a:t>Week </a:t>
            </a:r>
          </a:p>
          <a:p>
            <a:pPr algn="ctr" defTabSz="1321012"/>
            <a:endParaRPr lang="en-US" sz="1049" b="1" dirty="0">
              <a:solidFill>
                <a:srgbClr val="FF0000"/>
              </a:solidFill>
              <a:latin typeface="Arial"/>
            </a:endParaRPr>
          </a:p>
          <a:p>
            <a:pPr algn="ctr" defTabSz="1321012"/>
            <a:r>
              <a:rPr lang="en-US" sz="1049" b="1" dirty="0">
                <a:solidFill>
                  <a:srgbClr val="FF0000"/>
                </a:solidFill>
                <a:latin typeface="Arial"/>
              </a:rPr>
              <a:t># 2</a:t>
            </a:r>
          </a:p>
        </p:txBody>
      </p:sp>
      <p:sp>
        <p:nvSpPr>
          <p:cNvPr id="60" name="Oval 59"/>
          <p:cNvSpPr/>
          <p:nvPr/>
        </p:nvSpPr>
        <p:spPr>
          <a:xfrm>
            <a:off x="621010" y="547608"/>
            <a:ext cx="528320" cy="52832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srgbClr val="492580"/>
              </a:solidFill>
              <a:latin typeface="Calibri" panose="020F0502020204030204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684005" y="617543"/>
            <a:ext cx="396240" cy="396240"/>
          </a:xfrm>
          <a:prstGeom prst="ellipse">
            <a:avLst/>
          </a:prstGeom>
          <a:solidFill>
            <a:srgbClr val="FF385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6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918" y="683543"/>
            <a:ext cx="284414" cy="28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65885"/>
              </p:ext>
            </p:extLst>
          </p:nvPr>
        </p:nvGraphicFramePr>
        <p:xfrm>
          <a:off x="27399" y="3567756"/>
          <a:ext cx="6820404" cy="386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081">
                  <a:extLst>
                    <a:ext uri="{9D8B030D-6E8A-4147-A177-3AD203B41FA5}">
                      <a16:colId xmlns:a16="http://schemas.microsoft.com/office/drawing/2014/main" val="148865082"/>
                    </a:ext>
                  </a:extLst>
                </a:gridCol>
                <a:gridCol w="280865">
                  <a:extLst>
                    <a:ext uri="{9D8B030D-6E8A-4147-A177-3AD203B41FA5}">
                      <a16:colId xmlns:a16="http://schemas.microsoft.com/office/drawing/2014/main" val="390262909"/>
                    </a:ext>
                  </a:extLst>
                </a:gridCol>
                <a:gridCol w="2876341">
                  <a:extLst>
                    <a:ext uri="{9D8B030D-6E8A-4147-A177-3AD203B41FA5}">
                      <a16:colId xmlns:a16="http://schemas.microsoft.com/office/drawing/2014/main" val="753301394"/>
                    </a:ext>
                  </a:extLst>
                </a:gridCol>
                <a:gridCol w="1252285">
                  <a:extLst>
                    <a:ext uri="{9D8B030D-6E8A-4147-A177-3AD203B41FA5}">
                      <a16:colId xmlns:a16="http://schemas.microsoft.com/office/drawing/2014/main" val="1003830663"/>
                    </a:ext>
                  </a:extLst>
                </a:gridCol>
                <a:gridCol w="1046832">
                  <a:extLst>
                    <a:ext uri="{9D8B030D-6E8A-4147-A177-3AD203B41FA5}">
                      <a16:colId xmlns:a16="http://schemas.microsoft.com/office/drawing/2014/main" val="3950555439"/>
                    </a:ext>
                  </a:extLst>
                </a:gridCol>
              </a:tblGrid>
              <a:tr h="457200">
                <a:tc rowSpan="3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tes from last week’s work</a:t>
                      </a: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ext week agenda</a:t>
                      </a: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ber way to write code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ke file name as clear as possible– create a table of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pprivaiation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– send files as pdf – cite your references – use indention properly in your file. 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All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87739"/>
                  </a:ext>
                </a:extLst>
              </a:tr>
              <a:tr h="457200">
                <a:tc vMerge="1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AI work in teams learn more about AI in general and learn how to handle dataset in excel - BA collect requirements from client also info about them and it only be hour and  half.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ll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766236"/>
                  </a:ext>
                </a:extLst>
              </a:tr>
              <a:tr h="650240">
                <a:tc vMerge="1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Put informative comments – use annotations and config class – use </a:t>
                      </a:r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tqdm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 library.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ll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409708"/>
                  </a:ext>
                </a:extLst>
              </a:tr>
              <a:tr h="457200">
                <a:tc rowSpan="2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021358"/>
                  </a:ext>
                </a:extLst>
              </a:tr>
              <a:tr h="457200">
                <a:tc vMerge="1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574928"/>
                  </a:ext>
                </a:extLst>
              </a:tr>
              <a:tr h="452120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x-none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5918996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3" y="3189021"/>
            <a:ext cx="1371601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Topic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1398615" y="3189022"/>
            <a:ext cx="269321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#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1694947" y="3189022"/>
            <a:ext cx="2845306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Descriptions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4567272" y="3189022"/>
            <a:ext cx="1221820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Stakeholder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5816098" y="3189022"/>
            <a:ext cx="1041904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Target Date 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" y="2282746"/>
            <a:ext cx="16100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21012"/>
            <a:r>
              <a:rPr lang="en-US" sz="1100" b="1" dirty="0">
                <a:solidFill>
                  <a:srgbClr val="1D252D"/>
                </a:solidFill>
                <a:latin typeface="Arial"/>
              </a:rPr>
              <a:t>Date: 17/9/2025</a:t>
            </a:r>
          </a:p>
          <a:p>
            <a:pPr defTabSz="1321012"/>
            <a:r>
              <a:rPr lang="en-US" sz="1100" b="1" dirty="0">
                <a:solidFill>
                  <a:srgbClr val="1D252D"/>
                </a:solidFill>
                <a:latin typeface="Arial"/>
              </a:rPr>
              <a:t>Time:3:00-3:40</a:t>
            </a:r>
            <a:endParaRPr lang="en-US" sz="1100" dirty="0">
              <a:solidFill>
                <a:srgbClr val="1D252D"/>
              </a:solidFill>
              <a:latin typeface="Arial"/>
            </a:endParaRPr>
          </a:p>
          <a:p>
            <a:pPr defTabSz="1321012"/>
            <a:endParaRPr lang="en-US" sz="1100" dirty="0">
              <a:solidFill>
                <a:srgbClr val="1D252D"/>
              </a:solidFill>
              <a:latin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-58657" y="2914039"/>
            <a:ext cx="2027706" cy="246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1" b="1" dirty="0"/>
              <a:t>Meeting Notes - Directions</a:t>
            </a:r>
          </a:p>
        </p:txBody>
      </p:sp>
      <p:cxnSp>
        <p:nvCxnSpPr>
          <p:cNvPr id="84" name="Straight Connector 83"/>
          <p:cNvCxnSpPr/>
          <p:nvPr/>
        </p:nvCxnSpPr>
        <p:spPr>
          <a:xfrm>
            <a:off x="27710" y="1562596"/>
            <a:ext cx="1575464" cy="890455"/>
          </a:xfrm>
          <a:prstGeom prst="line">
            <a:avLst/>
          </a:prstGeom>
          <a:ln w="12700">
            <a:solidFill>
              <a:srgbClr val="8E9AA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rapezoid 6">
            <a:extLst>
              <a:ext uri="{FF2B5EF4-FFF2-40B4-BE49-F238E27FC236}">
                <a16:creationId xmlns:a16="http://schemas.microsoft.com/office/drawing/2014/main" id="{2FE0EF24-59F0-1B3B-A186-19EDF468CB5F}"/>
              </a:ext>
            </a:extLst>
          </p:cNvPr>
          <p:cNvSpPr/>
          <p:nvPr/>
        </p:nvSpPr>
        <p:spPr>
          <a:xfrm rot="16200000">
            <a:off x="-93345" y="7666957"/>
            <a:ext cx="600166" cy="350698"/>
          </a:xfrm>
          <a:custGeom>
            <a:avLst/>
            <a:gdLst>
              <a:gd name="connsiteX0" fmla="*/ 0 w 2021205"/>
              <a:gd name="connsiteY0" fmla="*/ 771516 h 771516"/>
              <a:gd name="connsiteX1" fmla="*/ 192879 w 2021205"/>
              <a:gd name="connsiteY1" fmla="*/ 0 h 771516"/>
              <a:gd name="connsiteX2" fmla="*/ 1828326 w 2021205"/>
              <a:gd name="connsiteY2" fmla="*/ 0 h 771516"/>
              <a:gd name="connsiteX3" fmla="*/ 2021205 w 2021205"/>
              <a:gd name="connsiteY3" fmla="*/ 771516 h 771516"/>
              <a:gd name="connsiteX4" fmla="*/ 0 w 2021205"/>
              <a:gd name="connsiteY4" fmla="*/ 771516 h 771516"/>
              <a:gd name="connsiteX0" fmla="*/ 0 w 3282803"/>
              <a:gd name="connsiteY0" fmla="*/ 778395 h 778395"/>
              <a:gd name="connsiteX1" fmla="*/ 1454477 w 3282803"/>
              <a:gd name="connsiteY1" fmla="*/ 0 h 778395"/>
              <a:gd name="connsiteX2" fmla="*/ 3089924 w 3282803"/>
              <a:gd name="connsiteY2" fmla="*/ 0 h 778395"/>
              <a:gd name="connsiteX3" fmla="*/ 3282803 w 3282803"/>
              <a:gd name="connsiteY3" fmla="*/ 771516 h 778395"/>
              <a:gd name="connsiteX4" fmla="*/ 0 w 3282803"/>
              <a:gd name="connsiteY4" fmla="*/ 778395 h 778395"/>
              <a:gd name="connsiteX0" fmla="*/ 0 w 4534087"/>
              <a:gd name="connsiteY0" fmla="*/ 778395 h 778395"/>
              <a:gd name="connsiteX1" fmla="*/ 1454477 w 4534087"/>
              <a:gd name="connsiteY1" fmla="*/ 0 h 778395"/>
              <a:gd name="connsiteX2" fmla="*/ 3089924 w 4534087"/>
              <a:gd name="connsiteY2" fmla="*/ 0 h 778395"/>
              <a:gd name="connsiteX3" fmla="*/ 4534087 w 4534087"/>
              <a:gd name="connsiteY3" fmla="*/ 771516 h 778395"/>
              <a:gd name="connsiteX4" fmla="*/ 0 w 4534087"/>
              <a:gd name="connsiteY4" fmla="*/ 778395 h 778395"/>
              <a:gd name="connsiteX0" fmla="*/ 0 w 3991547"/>
              <a:gd name="connsiteY0" fmla="*/ 698525 h 771516"/>
              <a:gd name="connsiteX1" fmla="*/ 911937 w 3991547"/>
              <a:gd name="connsiteY1" fmla="*/ 0 h 771516"/>
              <a:gd name="connsiteX2" fmla="*/ 2547384 w 3991547"/>
              <a:gd name="connsiteY2" fmla="*/ 0 h 771516"/>
              <a:gd name="connsiteX3" fmla="*/ 3991547 w 3991547"/>
              <a:gd name="connsiteY3" fmla="*/ 771516 h 771516"/>
              <a:gd name="connsiteX4" fmla="*/ 0 w 3991547"/>
              <a:gd name="connsiteY4" fmla="*/ 698525 h 771516"/>
              <a:gd name="connsiteX0" fmla="*/ 0 w 3653340"/>
              <a:gd name="connsiteY0" fmla="*/ 698529 h 771516"/>
              <a:gd name="connsiteX1" fmla="*/ 573730 w 3653340"/>
              <a:gd name="connsiteY1" fmla="*/ 0 h 771516"/>
              <a:gd name="connsiteX2" fmla="*/ 2209177 w 3653340"/>
              <a:gd name="connsiteY2" fmla="*/ 0 h 771516"/>
              <a:gd name="connsiteX3" fmla="*/ 3653340 w 3653340"/>
              <a:gd name="connsiteY3" fmla="*/ 771516 h 771516"/>
              <a:gd name="connsiteX4" fmla="*/ 0 w 3653340"/>
              <a:gd name="connsiteY4" fmla="*/ 698529 h 771516"/>
              <a:gd name="connsiteX0" fmla="*/ 0 w 2540076"/>
              <a:gd name="connsiteY0" fmla="*/ 698529 h 707619"/>
              <a:gd name="connsiteX1" fmla="*/ 573730 w 2540076"/>
              <a:gd name="connsiteY1" fmla="*/ 0 h 707619"/>
              <a:gd name="connsiteX2" fmla="*/ 2209177 w 2540076"/>
              <a:gd name="connsiteY2" fmla="*/ 0 h 707619"/>
              <a:gd name="connsiteX3" fmla="*/ 2540076 w 2540076"/>
              <a:gd name="connsiteY3" fmla="*/ 707619 h 707619"/>
              <a:gd name="connsiteX4" fmla="*/ 0 w 2540076"/>
              <a:gd name="connsiteY4" fmla="*/ 698529 h 707619"/>
              <a:gd name="connsiteX0" fmla="*/ 0 w 2540076"/>
              <a:gd name="connsiteY0" fmla="*/ 714503 h 723593"/>
              <a:gd name="connsiteX1" fmla="*/ 376443 w 2540076"/>
              <a:gd name="connsiteY1" fmla="*/ 0 h 723593"/>
              <a:gd name="connsiteX2" fmla="*/ 2209177 w 2540076"/>
              <a:gd name="connsiteY2" fmla="*/ 15974 h 723593"/>
              <a:gd name="connsiteX3" fmla="*/ 2540076 w 2540076"/>
              <a:gd name="connsiteY3" fmla="*/ 723593 h 723593"/>
              <a:gd name="connsiteX4" fmla="*/ 0 w 2540076"/>
              <a:gd name="connsiteY4" fmla="*/ 714503 h 723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0076" h="723593">
                <a:moveTo>
                  <a:pt x="0" y="714503"/>
                </a:moveTo>
                <a:lnTo>
                  <a:pt x="376443" y="0"/>
                </a:lnTo>
                <a:lnTo>
                  <a:pt x="2209177" y="15974"/>
                </a:lnTo>
                <a:lnTo>
                  <a:pt x="2540076" y="723593"/>
                </a:lnTo>
                <a:lnTo>
                  <a:pt x="0" y="714503"/>
                </a:lnTo>
                <a:close/>
              </a:path>
            </a:pathLst>
          </a:custGeom>
          <a:gradFill>
            <a:gsLst>
              <a:gs pos="100000">
                <a:schemeClr val="accent5">
                  <a:lumMod val="20000"/>
                  <a:lumOff val="80000"/>
                </a:schemeClr>
              </a:gs>
              <a:gs pos="0">
                <a:srgbClr val="F2F2F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4BE6C84-FA83-2A3D-89AC-6D9E89F04AEF}"/>
              </a:ext>
            </a:extLst>
          </p:cNvPr>
          <p:cNvSpPr/>
          <p:nvPr/>
        </p:nvSpPr>
        <p:spPr>
          <a:xfrm>
            <a:off x="414549" y="7542223"/>
            <a:ext cx="4803461" cy="603375"/>
          </a:xfrm>
          <a:prstGeom prst="rect">
            <a:avLst/>
          </a:prstGeom>
          <a:solidFill>
            <a:schemeClr val="bg1"/>
          </a:solidFill>
          <a:ln>
            <a:solidFill>
              <a:srgbClr val="8E9A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1" b="1" dirty="0">
              <a:solidFill>
                <a:schemeClr val="tx1"/>
              </a:solidFill>
            </a:endParaRPr>
          </a:p>
          <a:p>
            <a:endParaRPr lang="en-US" sz="1001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EE32E5-106D-6A68-1ADE-661FA4DF3518}"/>
              </a:ext>
            </a:extLst>
          </p:cNvPr>
          <p:cNvSpPr txBox="1"/>
          <p:nvPr/>
        </p:nvSpPr>
        <p:spPr>
          <a:xfrm>
            <a:off x="448018" y="7542225"/>
            <a:ext cx="483720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21012"/>
            <a:r>
              <a:rPr lang="en-US" sz="1100" b="1" dirty="0">
                <a:solidFill>
                  <a:srgbClr val="1D252D"/>
                </a:solidFill>
                <a:latin typeface="Arial"/>
              </a:rPr>
              <a:t>Actionable insights</a:t>
            </a:r>
            <a:r>
              <a:rPr lang="en-US" sz="1100" dirty="0">
                <a:solidFill>
                  <a:srgbClr val="1D252D"/>
                </a:solidFill>
                <a:latin typeface="Arial"/>
              </a:rPr>
              <a:t>: </a:t>
            </a:r>
          </a:p>
          <a:p>
            <a:pPr defTabSz="1321012"/>
            <a:r>
              <a:rPr lang="en-US" sz="1100" dirty="0">
                <a:solidFill>
                  <a:srgbClr val="1D252D"/>
                </a:solidFill>
                <a:latin typeface="Arial"/>
              </a:rPr>
              <a:t>1- send emails to Osamah reminding him of what he promised to de in details.</a:t>
            </a:r>
          </a:p>
        </p:txBody>
      </p:sp>
    </p:spTree>
    <p:extLst>
      <p:ext uri="{BB962C8B-B14F-4D97-AF65-F5344CB8AC3E}">
        <p14:creationId xmlns:p14="http://schemas.microsoft.com/office/powerpoint/2010/main" val="820631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t3WOMDVNLNmA6Ct6h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t3WOMDVNLNmA6Ct6h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AAv0khXemS79a0v1q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8_Annual Report">
  <a:themeElements>
    <a:clrScheme name="STC">
      <a:dk1>
        <a:srgbClr val="1D252D"/>
      </a:dk1>
      <a:lt1>
        <a:srgbClr val="FFFFFF"/>
      </a:lt1>
      <a:dk2>
        <a:srgbClr val="4F008C"/>
      </a:dk2>
      <a:lt2>
        <a:srgbClr val="FF375E"/>
      </a:lt2>
      <a:accent1>
        <a:srgbClr val="FFDD40"/>
      </a:accent1>
      <a:accent2>
        <a:srgbClr val="FF6A39"/>
      </a:accent2>
      <a:accent3>
        <a:srgbClr val="00C48C"/>
      </a:accent3>
      <a:accent4>
        <a:srgbClr val="1BCED8"/>
      </a:accent4>
      <a:accent5>
        <a:srgbClr val="A54EE1"/>
      </a:accent5>
      <a:accent6>
        <a:srgbClr val="8E9AA0"/>
      </a:accent6>
      <a:hlink>
        <a:srgbClr val="4F008C"/>
      </a:hlink>
      <a:folHlink>
        <a:srgbClr val="4F008C"/>
      </a:folHlink>
    </a:clrScheme>
    <a:fontScheme name="STC">
      <a:majorFont>
        <a:latin typeface="Arial Unicode M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30958"/>
        </a:solidFill>
        <a:ln>
          <a:solidFill>
            <a:srgbClr val="33095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9_Annual Report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188121A9F49E4D9340A02E77CE466B" ma:contentTypeVersion="14" ma:contentTypeDescription="Create a new document." ma:contentTypeScope="" ma:versionID="ce5864d13b502ffa496c9733f258cf33">
  <xsd:schema xmlns:xsd="http://www.w3.org/2001/XMLSchema" xmlns:xs="http://www.w3.org/2001/XMLSchema" xmlns:p="http://schemas.microsoft.com/office/2006/metadata/properties" xmlns:ns1="http://schemas.microsoft.com/sharepoint/v3" xmlns:ns2="80167f65-9a1e-4e38-b080-1a6dd2522551" xmlns:ns3="d06dfc2a-6199-46b6-81fc-b54ff71cddc7" targetNamespace="http://schemas.microsoft.com/office/2006/metadata/properties" ma:root="true" ma:fieldsID="63ce3d9d05c1a166c28dcfe2a6f85fe6" ns1:_="" ns2:_="" ns3:_="">
    <xsd:import namespace="http://schemas.microsoft.com/sharepoint/v3"/>
    <xsd:import namespace="80167f65-9a1e-4e38-b080-1a6dd2522551"/>
    <xsd:import namespace="d06dfc2a-6199-46b6-81fc-b54ff71cdd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167f65-9a1e-4e38-b080-1a6dd25225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6dfc2a-6199-46b6-81fc-b54ff71cddc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d06dfc2a-6199-46b6-81fc-b54ff71cddc7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A56E96B-6B8E-453B-9587-337096CDDA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7EC132-A9FE-4995-9761-2D84C5D660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0167f65-9a1e-4e38-b080-1a6dd2522551"/>
    <ds:schemaRef ds:uri="d06dfc2a-6199-46b6-81fc-b54ff71cdd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250B321-F610-41E1-9F32-4F49FF21FAE8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d06dfc2a-6199-46b6-81fc-b54ff71cddc7"/>
    <ds:schemaRef ds:uri="http://purl.org/dc/elements/1.1/"/>
    <ds:schemaRef ds:uri="http://purl.org/dc/terms/"/>
    <ds:schemaRef ds:uri="http://schemas.microsoft.com/sharepoint/v3"/>
    <ds:schemaRef ds:uri="http://schemas.openxmlformats.org/package/2006/metadata/core-properties"/>
    <ds:schemaRef ds:uri="80167f65-9a1e-4e38-b080-1a6dd252255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7</TotalTime>
  <Words>195</Words>
  <Application>Microsoft Office PowerPoint</Application>
  <PresentationFormat>Custom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Unicode MS</vt:lpstr>
      <vt:lpstr>Calibri</vt:lpstr>
      <vt:lpstr>Calibri Light</vt:lpstr>
      <vt:lpstr>STC</vt:lpstr>
      <vt:lpstr>28_Annual Report</vt:lpstr>
      <vt:lpstr>29_Annual Report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hahd M. Aljobair</dc:creator>
  <cp:keywords/>
  <dc:description/>
  <cp:lastModifiedBy>وريف اليوسف ID 442200377</cp:lastModifiedBy>
  <cp:revision>65</cp:revision>
  <dcterms:created xsi:type="dcterms:W3CDTF">2021-11-10T09:56:42Z</dcterms:created>
  <dcterms:modified xsi:type="dcterms:W3CDTF">2025-09-17T13:20:4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188121A9F49E4D9340A02E77CE466B</vt:lpwstr>
  </property>
  <property fmtid="{D5CDD505-2E9C-101B-9397-08002B2CF9AE}" pid="3" name="Order">
    <vt:r8>44500</vt:r8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SIP_Label_43f4c572-284d-40db-b967-a0c1237dd7c8_Enabled">
    <vt:lpwstr>true</vt:lpwstr>
  </property>
  <property fmtid="{D5CDD505-2E9C-101B-9397-08002B2CF9AE}" pid="8" name="MSIP_Label_43f4c572-284d-40db-b967-a0c1237dd7c8_SetDate">
    <vt:lpwstr>2021-12-15T06:58:31Z</vt:lpwstr>
  </property>
  <property fmtid="{D5CDD505-2E9C-101B-9397-08002B2CF9AE}" pid="9" name="MSIP_Label_43f4c572-284d-40db-b967-a0c1237dd7c8_Method">
    <vt:lpwstr>Privileged</vt:lpwstr>
  </property>
  <property fmtid="{D5CDD505-2E9C-101B-9397-08002B2CF9AE}" pid="10" name="MSIP_Label_43f4c572-284d-40db-b967-a0c1237dd7c8_Name">
    <vt:lpwstr>43f4c572-284d-40db-b967-a0c1237dd7c8</vt:lpwstr>
  </property>
  <property fmtid="{D5CDD505-2E9C-101B-9397-08002B2CF9AE}" pid="11" name="MSIP_Label_43f4c572-284d-40db-b967-a0c1237dd7c8_SiteId">
    <vt:lpwstr>350ffe67-1872-4323-ae90-be3e70195eb1</vt:lpwstr>
  </property>
  <property fmtid="{D5CDD505-2E9C-101B-9397-08002B2CF9AE}" pid="12" name="MSIP_Label_43f4c572-284d-40db-b967-a0c1237dd7c8_ActionId">
    <vt:lpwstr>45d5f1a0-dc45-49dd-b196-6f4073935221</vt:lpwstr>
  </property>
  <property fmtid="{D5CDD505-2E9C-101B-9397-08002B2CF9AE}" pid="13" name="MSIP_Label_43f4c572-284d-40db-b967-a0c1237dd7c8_ContentBits">
    <vt:lpwstr>1</vt:lpwstr>
  </property>
</Properties>
</file>